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8" r:id="rId1"/>
    <p:sldMasterId id="2147483764" r:id="rId2"/>
    <p:sldMasterId id="2147483792" r:id="rId3"/>
  </p:sldMasterIdLst>
  <p:notesMasterIdLst>
    <p:notesMasterId r:id="rId12"/>
  </p:notesMasterIdLst>
  <p:sldIdLst>
    <p:sldId id="454" r:id="rId4"/>
    <p:sldId id="549" r:id="rId5"/>
    <p:sldId id="546" r:id="rId6"/>
    <p:sldId id="555" r:id="rId7"/>
    <p:sldId id="604" r:id="rId8"/>
    <p:sldId id="603" r:id="rId9"/>
    <p:sldId id="582" r:id="rId10"/>
    <p:sldId id="594" r:id="rId11"/>
  </p:sldIdLst>
  <p:sldSz cx="9144000" cy="6858000" type="screen4x3"/>
  <p:notesSz cx="6858000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CFCCB"/>
    <a:srgbClr val="006600"/>
    <a:srgbClr val="6CBEC0"/>
    <a:srgbClr val="33CC33"/>
    <a:srgbClr val="5CD0D0"/>
    <a:srgbClr val="000000"/>
    <a:srgbClr val="13769D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28" autoAdjust="0"/>
    <p:restoredTop sz="95171" autoAdjust="0"/>
  </p:normalViewPr>
  <p:slideViewPr>
    <p:cSldViewPr>
      <p:cViewPr>
        <p:scale>
          <a:sx n="75" d="100"/>
          <a:sy n="75" d="100"/>
        </p:scale>
        <p:origin x="-1308" y="-7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2256" y="-126"/>
      </p:cViewPr>
      <p:guideLst>
        <p:guide orient="horz" pos="3127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5300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5300"/>
          </a:xfrm>
          <a:prstGeom prst="rect">
            <a:avLst/>
          </a:prstGeom>
        </p:spPr>
        <p:txBody>
          <a:bodyPr vert="horz" lIns="93104" tIns="46552" rIns="93104" bIns="4655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C29F437-6D5C-4E9A-B3F3-769E24EDA860}" type="datetimeFigureOut">
              <a:rPr lang="ru-RU"/>
              <a:pPr>
                <a:defRPr/>
              </a:pPr>
              <a:t>22.03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932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04" tIns="46552" rIns="93104" bIns="46552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14875"/>
            <a:ext cx="5486400" cy="4467225"/>
          </a:xfrm>
          <a:prstGeom prst="rect">
            <a:avLst/>
          </a:prstGeom>
        </p:spPr>
        <p:txBody>
          <a:bodyPr vert="horz" lIns="93104" tIns="46552" rIns="93104" bIns="46552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71800" cy="495300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29750"/>
            <a:ext cx="2971800" cy="495300"/>
          </a:xfrm>
          <a:prstGeom prst="rect">
            <a:avLst/>
          </a:prstGeom>
        </p:spPr>
        <p:txBody>
          <a:bodyPr vert="horz" lIns="93104" tIns="46552" rIns="93104" bIns="4655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B15FF21-CDED-409C-A5B1-4EDAC3F7AE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16702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886200" y="9431338"/>
            <a:ext cx="2971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04" tIns="46552" rIns="93104" bIns="46552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0" hangingPunct="0">
              <a:buFont typeface="Times New Roman" pitchFamily="18" charset="0"/>
              <a:buNone/>
            </a:pPr>
            <a:fld id="{E305100A-3FF4-4A70-B490-FE8E82D372A7}" type="slidenum">
              <a:rPr lang="ru-RU" sz="1200">
                <a:ea typeface="Arial Unicode MS" pitchFamily="34" charset="-128"/>
                <a:cs typeface="Arial Unicode MS" pitchFamily="34" charset="-128"/>
              </a:rPr>
              <a:pPr algn="r" eaLnBrk="0" hangingPunct="0">
                <a:buFont typeface="Times New Roman" pitchFamily="18" charset="0"/>
                <a:buNone/>
              </a:pPr>
              <a:t>1</a:t>
            </a:fld>
            <a:endParaRPr lang="ru-RU" sz="120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3795" name="Text Box 1"/>
          <p:cNvSpPr txBox="1">
            <a:spLocks noChangeArrowheads="1"/>
          </p:cNvSpPr>
          <p:nvPr/>
        </p:nvSpPr>
        <p:spPr bwMode="auto">
          <a:xfrm>
            <a:off x="3886200" y="9432925"/>
            <a:ext cx="29718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638" tIns="47652" rIns="91638" bIns="47652" anchor="b"/>
          <a:lstStyle>
            <a:lvl1pPr>
              <a:tabLst>
                <a:tab pos="0" algn="l"/>
                <a:tab pos="930275" algn="l"/>
                <a:tab pos="1860550" algn="l"/>
                <a:tab pos="2792413" algn="l"/>
                <a:tab pos="3722688" algn="l"/>
                <a:tab pos="4654550" algn="l"/>
                <a:tab pos="5584825" algn="l"/>
                <a:tab pos="6516688" algn="l"/>
                <a:tab pos="7446963" algn="l"/>
                <a:tab pos="8378825" algn="l"/>
                <a:tab pos="9309100" algn="l"/>
                <a:tab pos="102409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tabLst>
                <a:tab pos="0" algn="l"/>
                <a:tab pos="930275" algn="l"/>
                <a:tab pos="1860550" algn="l"/>
                <a:tab pos="2792413" algn="l"/>
                <a:tab pos="3722688" algn="l"/>
                <a:tab pos="4654550" algn="l"/>
                <a:tab pos="5584825" algn="l"/>
                <a:tab pos="6516688" algn="l"/>
                <a:tab pos="7446963" algn="l"/>
                <a:tab pos="8378825" algn="l"/>
                <a:tab pos="9309100" algn="l"/>
                <a:tab pos="102409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tabLst>
                <a:tab pos="0" algn="l"/>
                <a:tab pos="930275" algn="l"/>
                <a:tab pos="1860550" algn="l"/>
                <a:tab pos="2792413" algn="l"/>
                <a:tab pos="3722688" algn="l"/>
                <a:tab pos="4654550" algn="l"/>
                <a:tab pos="5584825" algn="l"/>
                <a:tab pos="6516688" algn="l"/>
                <a:tab pos="7446963" algn="l"/>
                <a:tab pos="8378825" algn="l"/>
                <a:tab pos="9309100" algn="l"/>
                <a:tab pos="102409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tabLst>
                <a:tab pos="0" algn="l"/>
                <a:tab pos="930275" algn="l"/>
                <a:tab pos="1860550" algn="l"/>
                <a:tab pos="2792413" algn="l"/>
                <a:tab pos="3722688" algn="l"/>
                <a:tab pos="4654550" algn="l"/>
                <a:tab pos="5584825" algn="l"/>
                <a:tab pos="6516688" algn="l"/>
                <a:tab pos="7446963" algn="l"/>
                <a:tab pos="8378825" algn="l"/>
                <a:tab pos="9309100" algn="l"/>
                <a:tab pos="102409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tabLst>
                <a:tab pos="0" algn="l"/>
                <a:tab pos="930275" algn="l"/>
                <a:tab pos="1860550" algn="l"/>
                <a:tab pos="2792413" algn="l"/>
                <a:tab pos="3722688" algn="l"/>
                <a:tab pos="4654550" algn="l"/>
                <a:tab pos="5584825" algn="l"/>
                <a:tab pos="6516688" algn="l"/>
                <a:tab pos="7446963" algn="l"/>
                <a:tab pos="8378825" algn="l"/>
                <a:tab pos="9309100" algn="l"/>
                <a:tab pos="102409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30275" algn="l"/>
                <a:tab pos="1860550" algn="l"/>
                <a:tab pos="2792413" algn="l"/>
                <a:tab pos="3722688" algn="l"/>
                <a:tab pos="4654550" algn="l"/>
                <a:tab pos="5584825" algn="l"/>
                <a:tab pos="6516688" algn="l"/>
                <a:tab pos="7446963" algn="l"/>
                <a:tab pos="8378825" algn="l"/>
                <a:tab pos="9309100" algn="l"/>
                <a:tab pos="102409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30275" algn="l"/>
                <a:tab pos="1860550" algn="l"/>
                <a:tab pos="2792413" algn="l"/>
                <a:tab pos="3722688" algn="l"/>
                <a:tab pos="4654550" algn="l"/>
                <a:tab pos="5584825" algn="l"/>
                <a:tab pos="6516688" algn="l"/>
                <a:tab pos="7446963" algn="l"/>
                <a:tab pos="8378825" algn="l"/>
                <a:tab pos="9309100" algn="l"/>
                <a:tab pos="102409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30275" algn="l"/>
                <a:tab pos="1860550" algn="l"/>
                <a:tab pos="2792413" algn="l"/>
                <a:tab pos="3722688" algn="l"/>
                <a:tab pos="4654550" algn="l"/>
                <a:tab pos="5584825" algn="l"/>
                <a:tab pos="6516688" algn="l"/>
                <a:tab pos="7446963" algn="l"/>
                <a:tab pos="8378825" algn="l"/>
                <a:tab pos="9309100" algn="l"/>
                <a:tab pos="102409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30275" algn="l"/>
                <a:tab pos="1860550" algn="l"/>
                <a:tab pos="2792413" algn="l"/>
                <a:tab pos="3722688" algn="l"/>
                <a:tab pos="4654550" algn="l"/>
                <a:tab pos="5584825" algn="l"/>
                <a:tab pos="6516688" algn="l"/>
                <a:tab pos="7446963" algn="l"/>
                <a:tab pos="8378825" algn="l"/>
                <a:tab pos="9309100" algn="l"/>
                <a:tab pos="10240963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0BD8BD58-6BC0-4689-853C-D3AA098FA561}" type="slidenum">
              <a:rPr lang="ru-RU" sz="1200">
                <a:solidFill>
                  <a:srgbClr val="000000"/>
                </a:solidFill>
              </a:rPr>
              <a:pPr algn="r"/>
              <a:t>1</a:t>
            </a:fld>
            <a:endParaRPr lang="ru-RU" sz="1200">
              <a:solidFill>
                <a:srgbClr val="000000"/>
              </a:solidFill>
            </a:endParaRPr>
          </a:p>
        </p:txBody>
      </p:sp>
      <p:sp>
        <p:nvSpPr>
          <p:cNvPr id="33796" name="Text Box 2"/>
          <p:cNvSpPr txBox="1">
            <a:spLocks noChangeArrowheads="1"/>
          </p:cNvSpPr>
          <p:nvPr/>
        </p:nvSpPr>
        <p:spPr bwMode="auto">
          <a:xfrm>
            <a:off x="947738" y="744538"/>
            <a:ext cx="4962525" cy="372268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93104" tIns="46552" rIns="93104" bIns="46552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sz="1200">
              <a:solidFill>
                <a:schemeClr val="bg1"/>
              </a:solidFill>
            </a:endParaRPr>
          </a:p>
        </p:txBody>
      </p:sp>
      <p:sp>
        <p:nvSpPr>
          <p:cNvPr id="33797" name="Rectangle 3"/>
          <p:cNvSpPr>
            <a:spLocks noGrp="1" noChangeArrowheads="1"/>
          </p:cNvSpPr>
          <p:nvPr>
            <p:ph type="body"/>
          </p:nvPr>
        </p:nvSpPr>
        <p:spPr bwMode="auto">
          <a:xfrm>
            <a:off x="914400" y="4714875"/>
            <a:ext cx="5029200" cy="4562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endParaRPr lang="ru-RU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0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3884613" y="9429750"/>
            <a:ext cx="2971800" cy="495300"/>
          </a:xfrm>
          <a:prstGeom prst="rect">
            <a:avLst/>
          </a:prstGeom>
          <a:noFill/>
        </p:spPr>
        <p:txBody>
          <a:bodyPr lIns="93104" tIns="46552" rIns="93104" bIns="46552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AF84F23-B2E2-4BCC-A17A-62C149BA7088}" type="slidenum">
              <a:rPr lang="ru-RU" sz="120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ru-RU" sz="1200" dirty="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8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3884613" y="9429750"/>
            <a:ext cx="2971800" cy="495300"/>
          </a:xfrm>
          <a:prstGeom prst="rect">
            <a:avLst/>
          </a:prstGeom>
          <a:noFill/>
        </p:spPr>
        <p:txBody>
          <a:bodyPr lIns="93104" tIns="46552" rIns="93104" bIns="46552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DA7BA70-6E31-450C-A14A-9C485F37EEBB}" type="slidenum">
              <a:rPr lang="ru-RU" sz="120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ru-RU" sz="1200" dirty="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8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3884613" y="9429750"/>
            <a:ext cx="2971800" cy="495300"/>
          </a:xfrm>
          <a:prstGeom prst="rect">
            <a:avLst/>
          </a:prstGeom>
          <a:noFill/>
        </p:spPr>
        <p:txBody>
          <a:bodyPr lIns="93104" tIns="46552" rIns="93104" bIns="46552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349E7DF-A530-4C42-A127-37BB4DE93AD2}" type="slidenum">
              <a:rPr lang="ru-RU" sz="120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ru-RU" sz="120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2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3884613" y="9429750"/>
            <a:ext cx="2971800" cy="495300"/>
          </a:xfrm>
          <a:prstGeom prst="rect">
            <a:avLst/>
          </a:prstGeom>
          <a:noFill/>
        </p:spPr>
        <p:txBody>
          <a:bodyPr lIns="93104" tIns="46552" rIns="93104" bIns="46552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448A21E3-12E4-4EB9-BF5F-4EFBFBAD0146}" type="slidenum">
              <a:rPr lang="ru-RU" sz="120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ru-RU" sz="1200" dirty="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8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3884613" y="9429750"/>
            <a:ext cx="2971800" cy="495300"/>
          </a:xfrm>
          <a:prstGeom prst="rect">
            <a:avLst/>
          </a:prstGeom>
          <a:noFill/>
        </p:spPr>
        <p:txBody>
          <a:bodyPr lIns="93104" tIns="46552" rIns="93104" bIns="46552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349E7DF-A530-4C42-A127-37BB4DE93AD2}" type="slidenum">
              <a:rPr lang="ru-RU" sz="120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ru-RU" sz="120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0E3C1B-86B1-4823-95EC-6829D56806A6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34680832"/>
      </p:ext>
    </p:extLst>
  </p:cSld>
  <p:clrMapOvr>
    <a:masterClrMapping/>
  </p:clrMapOvr>
  <p:transition>
    <p:split orient="vert" dir="in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A3E235-443A-4DF7-B819-C44FC3A4DFDE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80401393"/>
      </p:ext>
    </p:extLst>
  </p:cSld>
  <p:clrMapOvr>
    <a:masterClrMapping/>
  </p:clrMapOvr>
  <p:transition>
    <p:split orient="vert" dir="in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8475" y="87313"/>
            <a:ext cx="2165350" cy="24336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0838" y="87313"/>
            <a:ext cx="6345237" cy="24336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D0A31B-AA20-4D92-9AA2-2EB0CE2B5810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10809393"/>
      </p:ext>
    </p:extLst>
  </p:cSld>
  <p:clrMapOvr>
    <a:masterClrMapping/>
  </p:clrMapOvr>
  <p:transition>
    <p:split orient="vert" dir="in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350838" y="87313"/>
            <a:ext cx="8662987" cy="24336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180370-38EC-4921-B771-B8A0AD5D006A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29045662"/>
      </p:ext>
    </p:extLst>
  </p:cSld>
  <p:clrMapOvr>
    <a:masterClrMapping/>
  </p:clrMapOvr>
  <p:transition>
    <p:split orient="vert" dir="in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0838" y="87313"/>
            <a:ext cx="8059737" cy="730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350838" y="1298575"/>
            <a:ext cx="8662987" cy="1222375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  <a:endParaRPr lang="ru-RU" noProof="0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FB7B89-4AEE-4DC2-B57F-141F85454DED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517411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7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5058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ru-RU" altLang="en-US"/>
              <a:t>Образец заголовка</a:t>
            </a:r>
          </a:p>
        </p:txBody>
      </p:sp>
      <p:sp>
        <p:nvSpPr>
          <p:cNvPr id="5058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ru-RU" altLang="en-US"/>
              <a:t>Образец подзаголовка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B34C29-AEED-4457-B0BC-BBF0CE44DFE3}" type="datetime1">
              <a:rPr lang="ru-RU"/>
              <a:pPr>
                <a:defRPr/>
              </a:pPr>
              <a:t>22.03.2013</a:t>
            </a:fld>
            <a:endParaRPr lang="ru-RU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D58C4-02D0-44D5-A6BF-77EA29228CD7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8093215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79114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639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699505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3" y="1711325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5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33322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268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562E94-D327-41D0-947B-937E3287F3CC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66360163"/>
      </p:ext>
    </p:extLst>
  </p:cSld>
  <p:clrMapOvr>
    <a:masterClrMapping/>
  </p:clrMapOvr>
  <p:transition>
    <p:split orient="vert" dir="in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78357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8379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32449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843783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78803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3" y="393700"/>
            <a:ext cx="1874837" cy="5607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95711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965810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2255294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57263" y="1711325"/>
            <a:ext cx="3673475" cy="42894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83138" y="1711325"/>
            <a:ext cx="3675062" cy="42894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42927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Заголовок и 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57263" y="1711325"/>
            <a:ext cx="7500937" cy="20685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957263" y="3932238"/>
            <a:ext cx="7500937" cy="20685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8079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83F3AC-1F8F-41F7-908F-D68D22E4E869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69780944"/>
      </p:ext>
    </p:extLst>
  </p:cSld>
  <p:clrMapOvr>
    <a:masterClrMapping/>
  </p:clrMapOvr>
  <p:transition>
    <p:split orient="vert" dir="in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57263" y="1711325"/>
            <a:ext cx="3673475" cy="42894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783138" y="1711325"/>
            <a:ext cx="3675062" cy="20685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783138" y="3932238"/>
            <a:ext cx="3675062" cy="20685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9906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50838" y="1298575"/>
            <a:ext cx="4254500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7738" y="1298575"/>
            <a:ext cx="4256087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F4C7C4-7A73-4375-910F-95F78868A59C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57884695"/>
      </p:ext>
    </p:extLst>
  </p:cSld>
  <p:clrMapOvr>
    <a:masterClrMapping/>
  </p:clrMapOvr>
  <p:transition>
    <p:split orient="vert" dir="in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8DFE94-B489-432A-8559-BF062A05BF16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17988615"/>
      </p:ext>
    </p:extLst>
  </p:cSld>
  <p:clrMapOvr>
    <a:masterClrMapping/>
  </p:clrMapOvr>
  <p:transition>
    <p:split orient="vert" dir="in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0CAACC-5210-49D7-B1F6-C8C7DBEBC9E8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29101107"/>
      </p:ext>
    </p:extLst>
  </p:cSld>
  <p:clrMapOvr>
    <a:masterClrMapping/>
  </p:clrMapOvr>
  <p:transition>
    <p:split orient="vert" dir="in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0F381-C2C2-45D9-A2D5-02BC7C854B3B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63407938"/>
      </p:ext>
    </p:extLst>
  </p:cSld>
  <p:clrMapOvr>
    <a:masterClrMapping/>
  </p:clrMapOvr>
  <p:transition>
    <p:split orient="vert" dir="in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C58551-688D-4197-BA57-D15624F3620B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91943342"/>
      </p:ext>
    </p:extLst>
  </p:cSld>
  <p:clrMapOvr>
    <a:masterClrMapping/>
  </p:clrMapOvr>
  <p:transition>
    <p:split orient="vert" dir="in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1BCE8F-952F-4F7D-A305-360A21544B09}" type="slidenum">
              <a:rPr lang="en-US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15426810"/>
      </p:ext>
    </p:extLst>
  </p:cSld>
  <p:clrMapOvr>
    <a:masterClrMapping/>
  </p:clrMapOvr>
  <p:transition>
    <p:split orient="vert" dir="in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r:id="rId25" imgW="0" imgH="0" progId="">
                  <p:embed/>
                </p:oleObj>
              </mc:Choice>
              <mc:Fallback>
                <p:oleObj r:id="rId2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690563"/>
            <a:ext cx="9144000" cy="74612"/>
          </a:xfrm>
          <a:prstGeom prst="rect">
            <a:avLst/>
          </a:prstGeom>
          <a:solidFill>
            <a:srgbClr val="339966"/>
          </a:solidFill>
          <a:ln w="9525">
            <a:solidFill>
              <a:schemeClr val="folHlink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 sz="800" b="1"/>
          </a:p>
        </p:txBody>
      </p:sp>
      <p:sp>
        <p:nvSpPr>
          <p:cNvPr id="64516" name="doc id"/>
          <p:cNvSpPr>
            <a:spLocks noGrp="1" noChangeArrowheads="1"/>
          </p:cNvSpPr>
          <p:nvPr>
            <p:ph type="ftr" sz="quarter" idx="3"/>
            <p:custDataLst>
              <p:tags r:id="rId18"/>
            </p:custDataLst>
          </p:nvPr>
        </p:nvSpPr>
        <p:spPr bwMode="auto">
          <a:xfrm>
            <a:off x="8408988" y="36513"/>
            <a:ext cx="32861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800" b="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4517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32600" y="6643688"/>
            <a:ext cx="190500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0"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927064D5-5104-4840-8D8E-249EF39DB451}" type="slidenum">
              <a:rPr lang="en-US"/>
              <a:pPr>
                <a:defRPr/>
              </a:pPr>
              <a:t>‹#›</a:t>
            </a:fld>
            <a:endParaRPr lang="en-AU"/>
          </a:p>
        </p:txBody>
      </p:sp>
      <p:sp>
        <p:nvSpPr>
          <p:cNvPr id="1031" name="Rectangle 6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350838" y="87313"/>
            <a:ext cx="8059737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AU" smtClean="0"/>
          </a:p>
        </p:txBody>
      </p:sp>
      <p:sp>
        <p:nvSpPr>
          <p:cNvPr id="1032" name="Rectangle 7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350838" y="1298575"/>
            <a:ext cx="8662987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AU" smtClean="0"/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9" y="342"/>
            <a:chExt cx="5539" cy="3961"/>
          </a:xfrm>
        </p:grpSpPr>
        <p:sp>
          <p:nvSpPr>
            <p:cNvPr id="64521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9" y="342"/>
              <a:ext cx="553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2813">
                <a:defRPr/>
              </a:pPr>
              <a:r>
                <a:rPr lang="en-AU" sz="1600"/>
                <a:t>Unit of measure</a:t>
              </a:r>
            </a:p>
          </p:txBody>
        </p:sp>
        <p:sp>
          <p:nvSpPr>
            <p:cNvPr id="6452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50"/>
              <a:ext cx="5249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85788" indent="-585788" defTabSz="912813">
                <a:tabLst>
                  <a:tab pos="544513" algn="r"/>
                </a:tabLst>
                <a:defRPr/>
              </a:pPr>
              <a:r>
                <a:rPr lang="en-AU" sz="1200">
                  <a:solidFill>
                    <a:srgbClr val="000000"/>
                  </a:solidFill>
                </a:rPr>
                <a:t>	*	Footnote</a:t>
              </a:r>
            </a:p>
            <a:p>
              <a:pPr marL="585788" indent="-585788" defTabSz="912813">
                <a:spcBef>
                  <a:spcPct val="20000"/>
                </a:spcBef>
                <a:tabLst>
                  <a:tab pos="544513" algn="r"/>
                </a:tabLst>
                <a:defRPr/>
              </a:pPr>
              <a:r>
                <a:rPr lang="en-AU" sz="1200">
                  <a:solidFill>
                    <a:srgbClr val="000000"/>
                  </a:solidFill>
                </a:rPr>
                <a:t>Source:		Source</a:t>
              </a:r>
            </a:p>
          </p:txBody>
        </p:sp>
      </p:grpSp>
      <p:sp>
        <p:nvSpPr>
          <p:cNvPr id="64523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217694" y="2747169"/>
            <a:ext cx="17129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450">
              <a:defRPr/>
            </a:pPr>
            <a:r>
              <a:rPr lang="en-US" sz="600"/>
              <a:t>Working Draft - Last Modified 04.09.2008 22:16:33</a:t>
            </a:r>
            <a:endParaRPr lang="en-AU" sz="600"/>
          </a:p>
        </p:txBody>
      </p:sp>
      <p:sp>
        <p:nvSpPr>
          <p:cNvPr id="64524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590757" y="4291806"/>
            <a:ext cx="966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450">
              <a:defRPr/>
            </a:pPr>
            <a:r>
              <a:rPr lang="en-AU" sz="600"/>
              <a:t>Printed 04.09.2008 23:44:13</a:t>
            </a:r>
          </a:p>
        </p:txBody>
      </p:sp>
      <p:sp>
        <p:nvSpPr>
          <p:cNvPr id="64527" name="Rectangle 15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0" y="6400800"/>
            <a:ext cx="9144000" cy="227013"/>
          </a:xfrm>
          <a:prstGeom prst="rect">
            <a:avLst/>
          </a:prstGeom>
          <a:solidFill>
            <a:srgbClr val="339966"/>
          </a:solidFill>
          <a:ln w="9525">
            <a:solidFill>
              <a:schemeClr val="folHlink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933450">
              <a:defRPr/>
            </a:pPr>
            <a:r>
              <a:rPr lang="ru-RU" sz="1000" i="1">
                <a:solidFill>
                  <a:schemeClr val="bg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t>      Киевское отделение № 5278, г. Москва, ул. Брянская, д. 8. тел. 8 (499) 240-24-40</a:t>
            </a:r>
          </a:p>
        </p:txBody>
      </p:sp>
      <p:pic>
        <p:nvPicPr>
          <p:cNvPr id="1037" name="Picture 18" descr="sberlogo-new_samodelka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350" y="115888"/>
            <a:ext cx="506413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7" r:id="rId2"/>
    <p:sldLayoutId id="2147483776" r:id="rId3"/>
    <p:sldLayoutId id="2147483775" r:id="rId4"/>
    <p:sldLayoutId id="2147483774" r:id="rId5"/>
    <p:sldLayoutId id="2147483773" r:id="rId6"/>
    <p:sldLayoutId id="2147483772" r:id="rId7"/>
    <p:sldLayoutId id="2147483771" r:id="rId8"/>
    <p:sldLayoutId id="2147483770" r:id="rId9"/>
    <p:sldLayoutId id="2147483769" r:id="rId10"/>
    <p:sldLayoutId id="2147483768" r:id="rId11"/>
    <p:sldLayoutId id="2147483767" r:id="rId12"/>
    <p:sldLayoutId id="2147483766" r:id="rId13"/>
  </p:sldLayoutIdLst>
  <p:transition>
    <p:split orient="vert" dir="in"/>
  </p:transition>
  <p:hf hdr="0" ftr="0" dt="0"/>
  <p:txStyles>
    <p:titleStyle>
      <a:lvl1pPr algn="l" defTabSz="91281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2pPr>
      <a:lvl3pPr algn="l" defTabSz="91281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3pPr>
      <a:lvl4pPr algn="l" defTabSz="91281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4pPr>
      <a:lvl5pPr algn="l" defTabSz="91281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5pPr>
      <a:lvl6pPr marL="457200" algn="l" defTabSz="91281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6pPr>
      <a:lvl7pPr marL="914400" algn="l" defTabSz="91281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7pPr>
      <a:lvl8pPr marL="1371600" algn="l" defTabSz="91281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8pPr>
      <a:lvl9pPr marL="1828800" algn="l" defTabSz="912813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912813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7638" indent="-146050" algn="l" defTabSz="912813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301625" indent="-152400" algn="l" defTabSz="912813" rtl="0" eaLnBrk="1" fontAlgn="base" hangingPunct="1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41325" indent="-138113" algn="l" defTabSz="912813" rtl="0" eaLnBrk="1" fontAlgn="base" hangingPunct="1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93725" indent="-150813" algn="l" defTabSz="91281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50925" indent="-150813" algn="l" defTabSz="91281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08125" indent="-150813" algn="l" defTabSz="91281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65325" indent="-150813" algn="l" defTabSz="91281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22525" indent="-150813" algn="l" defTabSz="91281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3638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+mj-lt"/>
                <a:cs typeface="Arial" pitchFamily="34" charset="0"/>
              </a:defRPr>
            </a:lvl1pPr>
          </a:lstStyle>
          <a:p>
            <a:pPr>
              <a:defRPr/>
            </a:pPr>
            <a:fld id="{4C9A522B-953D-45BA-A520-8762A2FBE6E0}" type="datetime1">
              <a:rPr lang="ru-RU"/>
              <a:pPr>
                <a:defRPr/>
              </a:pPr>
              <a:t>22.03.2013</a:t>
            </a:fld>
            <a:endParaRPr lang="ru-RU" altLang="en-US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3638"/>
            <a:ext cx="2895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latin typeface="+mj-lt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j-lt"/>
                <a:cs typeface="Arial" pitchFamily="34" charset="0"/>
              </a:defRPr>
            </a:lvl1pPr>
          </a:lstStyle>
          <a:p>
            <a:pPr>
              <a:defRPr/>
            </a:pPr>
            <a:fld id="{4AD9DD7E-3D89-4044-B67F-6AB1C93751B1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Arial" pitchFamily="34" charset="0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Arial" pitchFamily="34" charset="0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Arial" pitchFamily="34" charset="0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Arial" pitchFamily="34" charset="0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23" descr="LEFT_01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5" y="393700"/>
            <a:ext cx="5603875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3" y="1711325"/>
            <a:ext cx="7500937" cy="428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5126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  <a:defRPr/>
            </a:pPr>
            <a:endParaRPr lang="ru-RU" sz="120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127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  <a:defRPr/>
            </a:pPr>
            <a:endParaRPr lang="ru-RU" sz="120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919913" y="366713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33" name="Group 13"/>
          <p:cNvGrpSpPr>
            <a:grpSpLocks/>
          </p:cNvGrpSpPr>
          <p:nvPr userDrawn="1"/>
        </p:nvGrpSpPr>
        <p:grpSpPr bwMode="auto">
          <a:xfrm>
            <a:off x="8096250" y="6242050"/>
            <a:ext cx="1047750" cy="241300"/>
            <a:chOff x="5100" y="3932"/>
            <a:chExt cx="660" cy="152"/>
          </a:xfrm>
        </p:grpSpPr>
        <p:sp>
          <p:nvSpPr>
            <p:cNvPr id="5131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ru-RU" sz="2400">
                <a:solidFill>
                  <a:srgbClr val="000000"/>
                </a:solidFill>
                <a:latin typeface="Arial" pitchFamily="34" charset="0"/>
                <a:ea typeface="ヒラギノ角ゴ Pro W3"/>
                <a:cs typeface="ヒラギノ角ゴ Pro W3"/>
              </a:endParaRPr>
            </a:p>
          </p:txBody>
        </p:sp>
        <p:sp>
          <p:nvSpPr>
            <p:cNvPr id="5132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ru-RU" sz="1200">
                <a:solidFill>
                  <a:srgbClr val="FFFFFF"/>
                </a:solidFill>
                <a:latin typeface="Arial" pitchFamily="34" charset="0"/>
                <a:cs typeface="+mn-cs"/>
              </a:endParaRPr>
            </a:p>
          </p:txBody>
        </p:sp>
      </p:grpSp>
      <p:sp>
        <p:nvSpPr>
          <p:cNvPr id="5130" name="Rectangle 19"/>
          <p:cNvSpPr>
            <a:spLocks noChangeArrowheads="1"/>
          </p:cNvSpPr>
          <p:nvPr userDrawn="1"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8577C3F7-466C-43BB-A911-F295A2C37E06}" type="slidenum">
              <a:rPr lang="ru-RU" sz="1200" b="1">
                <a:solidFill>
                  <a:srgbClr val="FFFFFF"/>
                </a:solidFill>
                <a:latin typeface="Arial" pitchFamily="34" charset="0"/>
                <a:ea typeface="ヒラギノ角ゴ Pro W3"/>
                <a:cs typeface="ヒラギノ角ゴ Pro W3"/>
              </a:rPr>
              <a:pPr eaLnBrk="0" hangingPunct="0">
                <a:defRPr/>
              </a:pPr>
              <a:t>‹#›</a:t>
            </a:fld>
            <a:endParaRPr lang="ru-RU" sz="1200">
              <a:solidFill>
                <a:srgbClr val="FFFFFF"/>
              </a:solidFill>
              <a:latin typeface="Arial" pitchFamily="34" charset="0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813212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6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4" Type="http://schemas.openxmlformats.org/officeDocument/2006/relationships/hyperlink" Target="mailto:okfl.osb5278@sberbank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69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70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31746" name="Text Box 2"/>
          <p:cNvSpPr txBox="1">
            <a:spLocks noChangeArrowheads="1"/>
          </p:cNvSpPr>
          <p:nvPr/>
        </p:nvSpPr>
        <p:spPr bwMode="auto">
          <a:xfrm>
            <a:off x="468313" y="4292600"/>
            <a:ext cx="6215062" cy="21351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algn="ctr">
              <a:lnSpc>
                <a:spcPct val="90000"/>
              </a:lnSpc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4000" b="1" i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          Жилищное</a:t>
            </a:r>
          </a:p>
          <a:p>
            <a:pPr algn="ctr">
              <a:lnSpc>
                <a:spcPct val="90000"/>
              </a:lnSpc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4000" b="1" i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            кредитование</a:t>
            </a:r>
          </a:p>
        </p:txBody>
      </p:sp>
      <p:grpSp>
        <p:nvGrpSpPr>
          <p:cNvPr id="32771" name="Group 3"/>
          <p:cNvGrpSpPr>
            <a:grpSpLocks/>
          </p:cNvGrpSpPr>
          <p:nvPr/>
        </p:nvGrpSpPr>
        <p:grpSpPr bwMode="auto">
          <a:xfrm>
            <a:off x="0" y="0"/>
            <a:ext cx="9142413" cy="6856413"/>
            <a:chOff x="0" y="0"/>
            <a:chExt cx="5759" cy="4319"/>
          </a:xfrm>
        </p:grpSpPr>
        <p:sp>
          <p:nvSpPr>
            <p:cNvPr id="32775" name="AutoShape 4"/>
            <p:cNvSpPr>
              <a:spLocks noChangeArrowheads="1"/>
            </p:cNvSpPr>
            <p:nvPr/>
          </p:nvSpPr>
          <p:spPr bwMode="auto">
            <a:xfrm>
              <a:off x="60" y="52"/>
              <a:ext cx="336" cy="336"/>
            </a:xfrm>
            <a:prstGeom prst="plaque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z="1200">
                <a:solidFill>
                  <a:schemeClr val="bg1"/>
                </a:solidFill>
              </a:endParaRPr>
            </a:p>
          </p:txBody>
        </p:sp>
        <p:sp>
          <p:nvSpPr>
            <p:cNvPr id="32776" name="AutoShape 5"/>
            <p:cNvSpPr>
              <a:spLocks noChangeArrowheads="1"/>
            </p:cNvSpPr>
            <p:nvPr/>
          </p:nvSpPr>
          <p:spPr bwMode="auto">
            <a:xfrm>
              <a:off x="5372" y="52"/>
              <a:ext cx="336" cy="336"/>
            </a:xfrm>
            <a:prstGeom prst="plaque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z="1200">
                <a:solidFill>
                  <a:schemeClr val="bg1"/>
                </a:solidFill>
              </a:endParaRPr>
            </a:p>
          </p:txBody>
        </p:sp>
        <p:sp>
          <p:nvSpPr>
            <p:cNvPr id="32777" name="AutoShape 6"/>
            <p:cNvSpPr>
              <a:spLocks noChangeArrowheads="1"/>
            </p:cNvSpPr>
            <p:nvPr/>
          </p:nvSpPr>
          <p:spPr bwMode="auto">
            <a:xfrm>
              <a:off x="60" y="3937"/>
              <a:ext cx="336" cy="336"/>
            </a:xfrm>
            <a:prstGeom prst="plaque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z="1200">
                <a:solidFill>
                  <a:schemeClr val="bg1"/>
                </a:solidFill>
              </a:endParaRPr>
            </a:p>
          </p:txBody>
        </p:sp>
        <p:sp>
          <p:nvSpPr>
            <p:cNvPr id="32778" name="AutoShape 7"/>
            <p:cNvSpPr>
              <a:spLocks noChangeArrowheads="1"/>
            </p:cNvSpPr>
            <p:nvPr/>
          </p:nvSpPr>
          <p:spPr bwMode="auto">
            <a:xfrm>
              <a:off x="5372" y="3937"/>
              <a:ext cx="336" cy="336"/>
            </a:xfrm>
            <a:prstGeom prst="plaque">
              <a:avLst>
                <a:gd name="adj" fmla="val 50000"/>
              </a:avLst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z="1200">
                <a:solidFill>
                  <a:schemeClr val="bg1"/>
                </a:solidFill>
              </a:endParaRPr>
            </a:p>
          </p:txBody>
        </p:sp>
        <p:sp>
          <p:nvSpPr>
            <p:cNvPr id="32779" name="Rectangle 8"/>
            <p:cNvSpPr>
              <a:spLocks noChangeArrowheads="1"/>
            </p:cNvSpPr>
            <p:nvPr/>
          </p:nvSpPr>
          <p:spPr bwMode="auto">
            <a:xfrm>
              <a:off x="0" y="0"/>
              <a:ext cx="228" cy="43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z="1200">
                <a:solidFill>
                  <a:schemeClr val="bg1"/>
                </a:solidFill>
              </a:endParaRPr>
            </a:p>
          </p:txBody>
        </p:sp>
        <p:sp>
          <p:nvSpPr>
            <p:cNvPr id="32780" name="Rectangle 9"/>
            <p:cNvSpPr>
              <a:spLocks noChangeArrowheads="1"/>
            </p:cNvSpPr>
            <p:nvPr/>
          </p:nvSpPr>
          <p:spPr bwMode="auto">
            <a:xfrm>
              <a:off x="5540" y="0"/>
              <a:ext cx="220" cy="43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z="1200">
                <a:solidFill>
                  <a:schemeClr val="bg1"/>
                </a:solidFill>
              </a:endParaRPr>
            </a:p>
          </p:txBody>
        </p:sp>
        <p:sp>
          <p:nvSpPr>
            <p:cNvPr id="32781" name="Rectangle 10"/>
            <p:cNvSpPr>
              <a:spLocks noChangeArrowheads="1"/>
            </p:cNvSpPr>
            <p:nvPr/>
          </p:nvSpPr>
          <p:spPr bwMode="auto">
            <a:xfrm>
              <a:off x="0" y="0"/>
              <a:ext cx="5760" cy="2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z="1200">
                <a:solidFill>
                  <a:schemeClr val="bg1"/>
                </a:solidFill>
              </a:endParaRPr>
            </a:p>
          </p:txBody>
        </p:sp>
        <p:sp>
          <p:nvSpPr>
            <p:cNvPr id="32782" name="Rectangle 11"/>
            <p:cNvSpPr>
              <a:spLocks noChangeArrowheads="1"/>
            </p:cNvSpPr>
            <p:nvPr/>
          </p:nvSpPr>
          <p:spPr bwMode="auto">
            <a:xfrm>
              <a:off x="0" y="4105"/>
              <a:ext cx="5760" cy="2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z="1200">
                <a:solidFill>
                  <a:schemeClr val="bg1"/>
                </a:solidFill>
              </a:endParaRPr>
            </a:p>
          </p:txBody>
        </p:sp>
      </p:grpSp>
      <p:sp>
        <p:nvSpPr>
          <p:cNvPr id="32772" name="Rectangle 13"/>
          <p:cNvSpPr>
            <a:spLocks noChangeArrowheads="1"/>
          </p:cNvSpPr>
          <p:nvPr/>
        </p:nvSpPr>
        <p:spPr bwMode="auto">
          <a:xfrm>
            <a:off x="6761163" y="5849938"/>
            <a:ext cx="2027237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lnSpc>
                <a:spcPct val="90000"/>
              </a:lnSpc>
              <a:spcBef>
                <a:spcPts val="400"/>
              </a:spcBef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600" dirty="0">
                <a:solidFill>
                  <a:srgbClr val="00703C"/>
                </a:solidFill>
              </a:rPr>
              <a:t>Москва, </a:t>
            </a:r>
            <a:r>
              <a:rPr lang="ru-RU" sz="1600" dirty="0" smtClean="0">
                <a:solidFill>
                  <a:srgbClr val="00703C"/>
                </a:solidFill>
              </a:rPr>
              <a:t>201</a:t>
            </a:r>
            <a:r>
              <a:rPr lang="en-US" sz="1600" dirty="0" smtClean="0">
                <a:solidFill>
                  <a:srgbClr val="00703C"/>
                </a:solidFill>
              </a:rPr>
              <a:t>3</a:t>
            </a:r>
            <a:endParaRPr lang="ru-RU" sz="1600" dirty="0">
              <a:solidFill>
                <a:srgbClr val="00703C"/>
              </a:solidFill>
            </a:endParaRPr>
          </a:p>
          <a:p>
            <a:pPr>
              <a:lnSpc>
                <a:spcPct val="90000"/>
              </a:lnSpc>
              <a:spcBef>
                <a:spcPts val="400"/>
              </a:spcBef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ru-RU" sz="1600" b="1" dirty="0">
              <a:solidFill>
                <a:srgbClr val="00703C"/>
              </a:solidFill>
            </a:endParaRPr>
          </a:p>
        </p:txBody>
      </p:sp>
      <p:sp>
        <p:nvSpPr>
          <p:cNvPr id="32773" name="Line 14"/>
          <p:cNvSpPr>
            <a:spLocks noChangeShapeType="1"/>
          </p:cNvSpPr>
          <p:nvPr/>
        </p:nvSpPr>
        <p:spPr bwMode="auto">
          <a:xfrm flipH="1">
            <a:off x="6729413" y="5851525"/>
            <a:ext cx="4762" cy="328613"/>
          </a:xfrm>
          <a:prstGeom prst="line">
            <a:avLst/>
          </a:prstGeom>
          <a:noFill/>
          <a:ln w="25560">
            <a:solidFill>
              <a:srgbClr val="00734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32774" name="Picture 19" descr="home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54"/>
          <a:stretch>
            <a:fillRect/>
          </a:stretch>
        </p:blipFill>
        <p:spPr bwMode="auto">
          <a:xfrm>
            <a:off x="1331913" y="2060575"/>
            <a:ext cx="6551612" cy="201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5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36866" name="Rectangle 3"/>
          <p:cNvSpPr>
            <a:spLocks noChangeArrowheads="1"/>
          </p:cNvSpPr>
          <p:nvPr/>
        </p:nvSpPr>
        <p:spPr bwMode="auto">
          <a:xfrm>
            <a:off x="2700338" y="2204863"/>
            <a:ext cx="5616078" cy="3312369"/>
          </a:xfrm>
          <a:prstGeom prst="rect">
            <a:avLst/>
          </a:prstGeom>
          <a:solidFill>
            <a:srgbClr val="F8F7BF">
              <a:alpha val="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r>
              <a:rPr lang="ru-RU" sz="2000" b="1" i="1" dirty="0"/>
              <a:t>Кредиты предоставляются гражданам РФ </a:t>
            </a:r>
          </a:p>
          <a:p>
            <a:r>
              <a:rPr lang="ru-RU" sz="2000" b="1" i="1" dirty="0"/>
              <a:t>в возрасте от 21 до 75 лет при наличии стажа </a:t>
            </a:r>
          </a:p>
          <a:p>
            <a:r>
              <a:rPr lang="ru-RU" sz="2000" b="1" i="1" dirty="0"/>
              <a:t>работы не менее 6 месяцев на текущем месте</a:t>
            </a:r>
          </a:p>
          <a:p>
            <a:r>
              <a:rPr lang="ru-RU" sz="2000" b="1" i="1" dirty="0"/>
              <a:t>работы и не менее 1 года общего стажа за </a:t>
            </a:r>
          </a:p>
          <a:p>
            <a:r>
              <a:rPr lang="ru-RU" sz="2000" b="1" i="1" dirty="0"/>
              <a:t>последние 5 лет </a:t>
            </a:r>
          </a:p>
          <a:p>
            <a:endParaRPr lang="ru-RU" i="1" dirty="0"/>
          </a:p>
          <a:p>
            <a:endParaRPr lang="ru-RU" b="1" i="1" dirty="0"/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50825" y="1196975"/>
            <a:ext cx="8642350" cy="46672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defTabSz="933450">
              <a:defRPr/>
            </a:pPr>
            <a:r>
              <a:rPr lang="ru-RU" sz="2400" b="1" i="1">
                <a:solidFill>
                  <a:srgbClr val="0066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rPr>
              <a:t>Кому может быть предоставлен кредит</a:t>
            </a:r>
          </a:p>
        </p:txBody>
      </p:sp>
      <p:pic>
        <p:nvPicPr>
          <p:cNvPr id="36868" name="Picture 5" descr="Жилищные кредиты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773238"/>
            <a:ext cx="2233613" cy="474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3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90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179388" y="1196975"/>
            <a:ext cx="8677275" cy="461963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defTabSz="933450">
              <a:defRPr/>
            </a:pPr>
            <a:r>
              <a:rPr lang="ru-RU" sz="2400" b="1" i="1" dirty="0">
                <a:solidFill>
                  <a:srgbClr val="0066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rPr>
              <a:t>Первоначальный взнос</a:t>
            </a:r>
          </a:p>
        </p:txBody>
      </p:sp>
      <p:graphicFrame>
        <p:nvGraphicFramePr>
          <p:cNvPr id="40973" name="Group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593454"/>
              </p:ext>
            </p:extLst>
          </p:nvPr>
        </p:nvGraphicFramePr>
        <p:xfrm>
          <a:off x="323850" y="1989138"/>
          <a:ext cx="8640763" cy="4535487"/>
        </p:xfrm>
        <a:graphic>
          <a:graphicData uri="http://schemas.openxmlformats.org/drawingml/2006/table">
            <a:tbl>
              <a:tblPr/>
              <a:tblGrid>
                <a:gridCol w="2559809"/>
                <a:gridCol w="6080954"/>
              </a:tblGrid>
              <a:tr h="4535487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ервоначальный взнос</a:t>
                      </a:r>
                    </a:p>
                  </a:txBody>
                  <a:tcPr marL="91441" marR="91441" marT="45710" marB="45710" horzOverflow="overflow">
                    <a:lnL w="12700" cap="flat" cmpd="sng" algn="ctr">
                      <a:solidFill>
                        <a:srgbClr val="3E63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E63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E63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E63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от 15% стоимости Объекта недвижимости</a:t>
                      </a:r>
                      <a:r>
                        <a:rPr kumimoji="0" lang="en-US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 большинству программ жилищного кредитования</a:t>
                      </a:r>
                      <a:endParaRPr kumimoji="0" lang="en-US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endParaRPr kumimoji="0" lang="en-US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от 10% стоимости Жилья, строящегося/построенного с участием кредитных средств Банка</a:t>
                      </a:r>
                      <a:endParaRPr kumimoji="0" lang="en-US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от 10% стоимости Жилья, по программе «Молодая семья»</a:t>
                      </a:r>
                      <a:endParaRPr kumimoji="0" lang="en-US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41" marR="91441" marT="45710" marB="45710" horzOverflow="overflow">
                    <a:lnL w="12700" cap="flat" cmpd="sng" algn="ctr">
                      <a:solidFill>
                        <a:srgbClr val="3E63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E63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E63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38923" name="Picture 16" descr="IMG_1828 (1)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2852738"/>
            <a:ext cx="2447925" cy="352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Содержимое 4"/>
          <p:cNvGraphicFramePr>
            <a:graphicFrameLocks noGrp="1"/>
          </p:cNvGraphicFramePr>
          <p:nvPr>
            <p:ph idx="4294967295"/>
          </p:nvPr>
        </p:nvGraphicFramePr>
        <p:xfrm>
          <a:off x="2374900" y="2857500"/>
          <a:ext cx="6769100" cy="1382892"/>
        </p:xfrm>
        <a:graphic>
          <a:graphicData uri="http://schemas.openxmlformats.org/drawingml/2006/table">
            <a:tbl>
              <a:tblPr/>
              <a:tblGrid>
                <a:gridCol w="1439862"/>
                <a:gridCol w="5329238"/>
              </a:tblGrid>
              <a:tr h="30910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A35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убли РФ</a:t>
                      </a:r>
                    </a:p>
                  </a:txBody>
                  <a:tcPr marL="72000" marR="36000" marT="71986" marB="35993" horzOverflow="overflow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2247"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72000" marR="36000" marT="71986" marB="35993" horzOverflow="overflow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3C"/>
                          </a:solidFill>
                          <a:effectLst/>
                          <a:latin typeface="Arial" pitchFamily="34" charset="0"/>
                        </a:rPr>
                        <a:t>10,5% – 16,0%</a:t>
                      </a:r>
                    </a:p>
                  </a:txBody>
                  <a:tcPr marL="72000" marR="36000" marT="71986" marB="35993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10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A35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ллары США, евро</a:t>
                      </a:r>
                    </a:p>
                  </a:txBody>
                  <a:tcPr marL="72000" marR="36000" marT="71986" marB="35993" horzOverflow="overflow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2247"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L="72000" marR="36000" marT="71986" marB="35993" horzOverflow="overflow">
                    <a:lnL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3C"/>
                          </a:solidFill>
                          <a:effectLst/>
                          <a:latin typeface="Arial" pitchFamily="34" charset="0"/>
                        </a:rPr>
                        <a:t>8,8% – 14,0%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3C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72000" marR="36000" marT="71986" marB="35993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40977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0" y="1196975"/>
            <a:ext cx="9036050" cy="46672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defTabSz="933450">
              <a:defRPr/>
            </a:pPr>
            <a:r>
              <a:rPr lang="ru-RU" sz="2400" b="1" i="1">
                <a:solidFill>
                  <a:srgbClr val="0066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rPr>
              <a:t>Документы для получения кредита</a:t>
            </a:r>
          </a:p>
        </p:txBody>
      </p:sp>
      <p:sp>
        <p:nvSpPr>
          <p:cNvPr id="40979" name="Rectangle 20"/>
          <p:cNvSpPr>
            <a:spLocks noChangeArrowheads="1"/>
          </p:cNvSpPr>
          <p:nvPr/>
        </p:nvSpPr>
        <p:spPr bwMode="auto">
          <a:xfrm>
            <a:off x="179388" y="1125538"/>
            <a:ext cx="8785225" cy="4124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ru-RU" dirty="0" smtClean="0"/>
          </a:p>
          <a:p>
            <a:endParaRPr lang="ru-RU" dirty="0"/>
          </a:p>
          <a:p>
            <a:endParaRPr lang="en-US" sz="2000" dirty="0" smtClean="0"/>
          </a:p>
          <a:p>
            <a:r>
              <a:rPr lang="ru-RU" sz="2000" dirty="0" smtClean="0"/>
              <a:t>Для </a:t>
            </a:r>
            <a:r>
              <a:rPr lang="ru-RU" sz="2000" dirty="0"/>
              <a:t>рассмотрения кредитной заявки заемщики предоставляют в Банк:</a:t>
            </a:r>
          </a:p>
          <a:p>
            <a:endParaRPr lang="ru-RU" dirty="0"/>
          </a:p>
          <a:p>
            <a:r>
              <a:rPr lang="ru-RU" dirty="0" smtClean="0"/>
              <a:t> - </a:t>
            </a:r>
            <a:r>
              <a:rPr lang="ru-RU" sz="2400" dirty="0"/>
              <a:t>заявление-анкета; </a:t>
            </a:r>
          </a:p>
          <a:p>
            <a:r>
              <a:rPr lang="ru-RU" sz="2400" dirty="0"/>
              <a:t>- паспорта заемщика/ </a:t>
            </a:r>
            <a:r>
              <a:rPr lang="ru-RU" sz="2400" dirty="0" err="1"/>
              <a:t>созаемщика</a:t>
            </a:r>
            <a:r>
              <a:rPr lang="ru-RU" sz="2400" dirty="0"/>
              <a:t>, поручителя, </a:t>
            </a:r>
            <a:r>
              <a:rPr lang="ru-RU" sz="2400" dirty="0" smtClean="0"/>
              <a:t>     залогодателя</a:t>
            </a:r>
            <a:r>
              <a:rPr lang="ru-RU" sz="2400" dirty="0"/>
              <a:t>; </a:t>
            </a:r>
          </a:p>
          <a:p>
            <a:r>
              <a:rPr lang="ru-RU" sz="2400" dirty="0" smtClean="0"/>
              <a:t>- Номер зарплатной карты</a:t>
            </a:r>
            <a:endParaRPr lang="ru-RU" sz="2400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b="1" dirty="0"/>
          </a:p>
        </p:txBody>
      </p:sp>
      <p:pic>
        <p:nvPicPr>
          <p:cNvPr id="6" name="Picture 19" descr="Visa Gold «Подари жизнь»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7" y="4327954"/>
            <a:ext cx="3782194" cy="2390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flipV="1">
            <a:off x="0" y="404813"/>
            <a:ext cx="9144000" cy="4603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70569" tIns="70569" rIns="70569" bIns="70569" anchor="ctr"/>
          <a:lstStyle/>
          <a:p>
            <a:pPr defTabSz="895350" eaLnBrk="1" hangingPunct="1">
              <a:lnSpc>
                <a:spcPct val="100000"/>
              </a:lnSpc>
              <a:buSzPct val="120000"/>
              <a:defRPr/>
            </a:pPr>
            <a:endParaRPr lang="en-US" sz="1600" b="1" dirty="0">
              <a:solidFill>
                <a:srgbClr val="FFFFFF"/>
              </a:solidFill>
              <a:latin typeface="Tahoma" pitchFamily="34" charset="0"/>
              <a:cs typeface="Tahoma" pitchFamily="34" charset="0"/>
              <a:sym typeface="Arial" pitchFamily="34" charset="0"/>
            </a:endParaRPr>
          </a:p>
        </p:txBody>
      </p:sp>
      <p:sp>
        <p:nvSpPr>
          <p:cNvPr id="6147" name="Rectangle 4"/>
          <p:cNvSpPr>
            <a:spLocks noChangeArrowheads="1"/>
          </p:cNvSpPr>
          <p:nvPr/>
        </p:nvSpPr>
        <p:spPr bwMode="auto">
          <a:xfrm>
            <a:off x="323850" y="1125538"/>
            <a:ext cx="93662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lnSpc>
                <a:spcPct val="100000"/>
              </a:lnSpc>
            </a:pPr>
            <a:endParaRPr lang="ru-RU" sz="1600" b="1">
              <a:solidFill>
                <a:srgbClr val="000000"/>
              </a:solidFill>
              <a:sym typeface="Arial" pitchFamily="34" charset="0"/>
            </a:endParaRPr>
          </a:p>
        </p:txBody>
      </p:sp>
      <p:pic>
        <p:nvPicPr>
          <p:cNvPr id="6148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763" y="115888"/>
            <a:ext cx="13668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076399"/>
              </p:ext>
            </p:extLst>
          </p:nvPr>
        </p:nvGraphicFramePr>
        <p:xfrm>
          <a:off x="1547813" y="1412776"/>
          <a:ext cx="6359525" cy="2484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5957"/>
                <a:gridCol w="1295972"/>
                <a:gridCol w="1523798"/>
                <a:gridCol w="1523798"/>
              </a:tblGrid>
              <a:tr h="793139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Первоначальный взнос</a:t>
                      </a:r>
                      <a:endParaRPr lang="ru-RU" sz="1600" dirty="0"/>
                    </a:p>
                  </a:txBody>
                  <a:tcPr marL="91428" marR="91428" marT="45711" marB="45711" anchor="ctr"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рок кредита</a:t>
                      </a:r>
                      <a:endParaRPr lang="ru-RU" sz="1600" dirty="0"/>
                    </a:p>
                  </a:txBody>
                  <a:tcPr marL="91428" marR="91428" marT="45711" marB="45711"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579101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До 10 лет</a:t>
                      </a:r>
                      <a:r>
                        <a:rPr lang="ru-RU" sz="1600" baseline="0" dirty="0" smtClean="0"/>
                        <a:t> (включит.)</a:t>
                      </a:r>
                      <a:endParaRPr lang="ru-RU" sz="1600" dirty="0"/>
                    </a:p>
                  </a:txBody>
                  <a:tcPr marL="91428" marR="91428" marT="45711" marB="45711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От</a:t>
                      </a:r>
                      <a:r>
                        <a:rPr lang="ru-RU" sz="1600" baseline="0" dirty="0" smtClean="0"/>
                        <a:t> 10 до 20 лет (включит.)</a:t>
                      </a:r>
                      <a:endParaRPr lang="ru-RU" sz="1600" dirty="0"/>
                    </a:p>
                  </a:txBody>
                  <a:tcPr marL="91428" marR="91428" marT="45711" marB="45711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От 20 до 30 лет (включит.)</a:t>
                      </a:r>
                      <a:endParaRPr lang="ru-RU" sz="1600" dirty="0"/>
                    </a:p>
                  </a:txBody>
                  <a:tcPr marL="91428" marR="91428" marT="45711" marB="45711">
                    <a:solidFill>
                      <a:srgbClr val="92D050"/>
                    </a:solidFill>
                  </a:tcPr>
                </a:tc>
              </a:tr>
              <a:tr h="370765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т 50%</a:t>
                      </a:r>
                      <a:endParaRPr lang="ru-RU" sz="1400" dirty="0"/>
                    </a:p>
                  </a:txBody>
                  <a:tcPr marL="91428" marR="91428" marT="45711" marB="45711" anchor="ctr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2%</a:t>
                      </a:r>
                      <a:endParaRPr lang="ru-RU" sz="1800" dirty="0"/>
                    </a:p>
                  </a:txBody>
                  <a:tcPr marL="91428" marR="91428" marT="45711" marB="45711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2,25%</a:t>
                      </a:r>
                      <a:endParaRPr lang="ru-RU" sz="1800" dirty="0"/>
                    </a:p>
                  </a:txBody>
                  <a:tcPr marL="91428" marR="91428" marT="45711" marB="45711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2,5%</a:t>
                      </a:r>
                      <a:endParaRPr lang="ru-RU" sz="1800" dirty="0"/>
                    </a:p>
                  </a:txBody>
                  <a:tcPr marL="91428" marR="91428" marT="45711" marB="45711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70765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т 30 до 50%</a:t>
                      </a:r>
                      <a:endParaRPr lang="ru-RU" sz="1400" dirty="0"/>
                    </a:p>
                  </a:txBody>
                  <a:tcPr marL="91428" marR="91428" marT="45711" marB="4571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2,25%</a:t>
                      </a:r>
                      <a:endParaRPr lang="ru-RU" sz="1800" dirty="0"/>
                    </a:p>
                  </a:txBody>
                  <a:tcPr marL="91428" marR="91428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2,5%</a:t>
                      </a:r>
                      <a:endParaRPr lang="ru-RU" sz="1800" dirty="0"/>
                    </a:p>
                  </a:txBody>
                  <a:tcPr marL="91428" marR="91428" marT="45711" marB="457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2,75%</a:t>
                      </a:r>
                      <a:endParaRPr lang="ru-RU" sz="1800" dirty="0"/>
                    </a:p>
                  </a:txBody>
                  <a:tcPr marL="91428" marR="91428" marT="45711" marB="45711"/>
                </a:tc>
              </a:tr>
              <a:tr h="370765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т 15* до 30%</a:t>
                      </a:r>
                      <a:endParaRPr lang="ru-RU" sz="1400" dirty="0"/>
                    </a:p>
                  </a:txBody>
                  <a:tcPr marL="91428" marR="91428" marT="45711" marB="45711" anchor="ctr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2,5%</a:t>
                      </a:r>
                      <a:endParaRPr lang="ru-RU" sz="1800" dirty="0"/>
                    </a:p>
                  </a:txBody>
                  <a:tcPr marL="91428" marR="91428" marT="45711" marB="45711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2,75%</a:t>
                      </a:r>
                      <a:endParaRPr lang="ru-RU" sz="1800" dirty="0"/>
                    </a:p>
                  </a:txBody>
                  <a:tcPr marL="91428" marR="91428" marT="45711" marB="45711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3%</a:t>
                      </a:r>
                      <a:endParaRPr lang="ru-RU" sz="1800" dirty="0"/>
                    </a:p>
                  </a:txBody>
                  <a:tcPr marL="91428" marR="91428" marT="45711" marB="45711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6183" name="Прямоугольник 16"/>
          <p:cNvSpPr>
            <a:spLocks noChangeArrowheads="1"/>
          </p:cNvSpPr>
          <p:nvPr/>
        </p:nvSpPr>
        <p:spPr bwMode="auto">
          <a:xfrm>
            <a:off x="684213" y="5707063"/>
            <a:ext cx="8135937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lnSpc>
                <a:spcPct val="100000"/>
              </a:lnSpc>
            </a:pPr>
            <a:r>
              <a:rPr lang="ru-RU" sz="1100" dirty="0">
                <a:solidFill>
                  <a:srgbClr val="000000"/>
                </a:solidFill>
                <a:sym typeface="Arial" pitchFamily="34" charset="0"/>
              </a:rPr>
              <a:t>* По программе «Молодая семья» с ребенком (детьми) первоначальный взнос от 10%. А также в случае приобретения ОН, построенных с участием </a:t>
            </a:r>
            <a:r>
              <a:rPr lang="ru-RU" sz="1100" dirty="0" err="1">
                <a:solidFill>
                  <a:srgbClr val="000000"/>
                </a:solidFill>
                <a:sym typeface="Arial" pitchFamily="34" charset="0"/>
              </a:rPr>
              <a:t>кред</a:t>
            </a:r>
            <a:r>
              <a:rPr lang="ru-RU" sz="1100" dirty="0">
                <a:solidFill>
                  <a:srgbClr val="000000"/>
                </a:solidFill>
                <a:sym typeface="Arial" pitchFamily="34" charset="0"/>
              </a:rPr>
              <a:t>. средств Банка.</a:t>
            </a:r>
            <a:br>
              <a:rPr lang="ru-RU" sz="1100" dirty="0">
                <a:solidFill>
                  <a:srgbClr val="000000"/>
                </a:solidFill>
                <a:sym typeface="Arial" pitchFamily="34" charset="0"/>
              </a:rPr>
            </a:br>
            <a:r>
              <a:rPr lang="ru-RU" sz="1100" dirty="0">
                <a:solidFill>
                  <a:srgbClr val="000000"/>
                </a:solidFill>
                <a:sym typeface="Arial" pitchFamily="34" charset="0"/>
              </a:rPr>
              <a:t>** Перечень компаний, аккредитованных ОАО «Сбербанк России», вы можете уточнить в отделениях </a:t>
            </a:r>
            <a:r>
              <a:rPr lang="ru-RU" sz="1100" dirty="0" smtClean="0">
                <a:solidFill>
                  <a:srgbClr val="000000"/>
                </a:solidFill>
                <a:sym typeface="Arial" pitchFamily="34" charset="0"/>
              </a:rPr>
              <a:t>Банка или у контактных лиц.</a:t>
            </a:r>
            <a:endParaRPr lang="ru-RU" sz="1100" dirty="0">
              <a:solidFill>
                <a:srgbClr val="000000"/>
              </a:solidFill>
              <a:sym typeface="Arial" pitchFamily="34" charset="0"/>
            </a:endParaRPr>
          </a:p>
        </p:txBody>
      </p:sp>
      <p:cxnSp>
        <p:nvCxnSpPr>
          <p:cNvPr id="6184" name="Прямая соединительная линия 27"/>
          <p:cNvCxnSpPr>
            <a:cxnSpLocks noChangeShapeType="1"/>
          </p:cNvCxnSpPr>
          <p:nvPr/>
        </p:nvCxnSpPr>
        <p:spPr bwMode="auto">
          <a:xfrm>
            <a:off x="684213" y="5707063"/>
            <a:ext cx="8002587" cy="0"/>
          </a:xfrm>
          <a:prstGeom prst="line">
            <a:avLst/>
          </a:prstGeom>
          <a:noFill/>
          <a:ln w="12700" algn="ctr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185" name="Picture 2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86" name="TextBox 1"/>
          <p:cNvSpPr txBox="1">
            <a:spLocks noChangeArrowheads="1"/>
          </p:cNvSpPr>
          <p:nvPr/>
        </p:nvSpPr>
        <p:spPr bwMode="auto">
          <a:xfrm>
            <a:off x="2411413" y="334963"/>
            <a:ext cx="627538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bg1"/>
                </a:solidFill>
                <a:latin typeface="Arial" pitchFamily="34" charset="0"/>
              </a:defRPr>
            </a:lvl1pPr>
            <a:lvl2pPr marL="742950" indent="-285750">
              <a:defRPr sz="1200">
                <a:solidFill>
                  <a:schemeClr val="bg1"/>
                </a:solidFill>
                <a:latin typeface="Arial" pitchFamily="34" charset="0"/>
              </a:defRPr>
            </a:lvl2pPr>
            <a:lvl3pPr marL="1143000" indent="-228600">
              <a:defRPr sz="1200">
                <a:solidFill>
                  <a:schemeClr val="bg1"/>
                </a:solidFill>
                <a:latin typeface="Arial" pitchFamily="34" charset="0"/>
              </a:defRPr>
            </a:lvl3pPr>
            <a:lvl4pPr marL="1600200" indent="-228600">
              <a:defRPr sz="1200">
                <a:solidFill>
                  <a:schemeClr val="bg1"/>
                </a:solidFill>
                <a:latin typeface="Arial" pitchFamily="34" charset="0"/>
              </a:defRPr>
            </a:lvl4pPr>
            <a:lvl5pPr marL="2057400" indent="-228600">
              <a:defRPr sz="1200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r>
              <a:rPr lang="ru-RU" sz="2000" b="1" dirty="0">
                <a:solidFill>
                  <a:srgbClr val="2B5E28"/>
                </a:solidFill>
                <a:cs typeface="Arial" pitchFamily="34" charset="0"/>
                <a:sym typeface="Arial" pitchFamily="34" charset="0"/>
              </a:rPr>
              <a:t>Ставки по продуктам </a:t>
            </a:r>
            <a:r>
              <a:rPr lang="ru-RU" sz="2000" b="1" dirty="0" smtClean="0">
                <a:solidFill>
                  <a:srgbClr val="2B5E28"/>
                </a:solidFill>
                <a:cs typeface="Arial" pitchFamily="34" charset="0"/>
                <a:sym typeface="Arial" pitchFamily="34" charset="0"/>
              </a:rPr>
              <a:t>«Приобретение </a:t>
            </a:r>
            <a:r>
              <a:rPr lang="ru-RU" sz="2000" b="1" dirty="0">
                <a:solidFill>
                  <a:srgbClr val="2B5E28"/>
                </a:solidFill>
                <a:cs typeface="Arial" pitchFamily="34" charset="0"/>
                <a:sym typeface="Arial" pitchFamily="34" charset="0"/>
              </a:rPr>
              <a:t>строящегося  </a:t>
            </a:r>
            <a:r>
              <a:rPr lang="ru-RU" sz="2000" b="1" dirty="0" smtClean="0">
                <a:solidFill>
                  <a:srgbClr val="2B5E28"/>
                </a:solidFill>
                <a:cs typeface="Arial" pitchFamily="34" charset="0"/>
                <a:sym typeface="Arial" pitchFamily="34" charset="0"/>
              </a:rPr>
              <a:t>жилья»</a:t>
            </a:r>
            <a:r>
              <a:rPr lang="en-US" sz="2000" b="1" dirty="0" smtClean="0">
                <a:solidFill>
                  <a:srgbClr val="2B5E28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ru-RU" sz="2000" b="1" dirty="0" smtClean="0">
                <a:solidFill>
                  <a:srgbClr val="2B5E28"/>
                </a:solidFill>
                <a:cs typeface="Arial" pitchFamily="34" charset="0"/>
                <a:sym typeface="Arial" pitchFamily="34" charset="0"/>
              </a:rPr>
              <a:t>для сотрудников МИД</a:t>
            </a:r>
            <a:endParaRPr lang="ru-RU" sz="2000" b="1" dirty="0">
              <a:solidFill>
                <a:srgbClr val="2B5E28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905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3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529" y="-649557"/>
            <a:ext cx="9396759" cy="7519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79512" y="-459432"/>
            <a:ext cx="66784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Сроки </a:t>
            </a:r>
            <a:r>
              <a:rPr lang="ru-RU" sz="2400" dirty="0" smtClean="0"/>
              <a:t>рассмотрения пакета  </a:t>
            </a:r>
            <a:r>
              <a:rPr lang="ru-RU" sz="2400" dirty="0"/>
              <a:t>документов</a:t>
            </a:r>
            <a:br>
              <a:rPr lang="ru-RU" sz="2400" dirty="0"/>
            </a:br>
            <a:r>
              <a:rPr lang="ru-RU" sz="2400" dirty="0" smtClean="0"/>
              <a:t>на </a:t>
            </a:r>
            <a:r>
              <a:rPr lang="ru-RU" sz="2400" dirty="0"/>
              <a:t>получение кредита</a:t>
            </a:r>
            <a:r>
              <a:rPr lang="ru-RU" dirty="0"/>
              <a:t>.</a:t>
            </a:r>
            <a:br>
              <a:rPr lang="ru-RU" dirty="0"/>
            </a:br>
            <a:endParaRPr lang="ru-RU" dirty="0"/>
          </a:p>
        </p:txBody>
      </p:sp>
      <p:grpSp>
        <p:nvGrpSpPr>
          <p:cNvPr id="16" name="Группа 15"/>
          <p:cNvGrpSpPr/>
          <p:nvPr/>
        </p:nvGrpSpPr>
        <p:grpSpPr>
          <a:xfrm>
            <a:off x="6156176" y="764705"/>
            <a:ext cx="2376263" cy="5193006"/>
            <a:chOff x="5131993" y="0"/>
            <a:chExt cx="2386546" cy="5057421"/>
          </a:xfrm>
          <a:scene3d>
            <a:camera prst="orthographicFront"/>
            <a:lightRig rig="flat" dir="t"/>
          </a:scene3d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5131993" y="0"/>
              <a:ext cx="2386546" cy="5057421"/>
            </a:xfrm>
            <a:prstGeom prst="roundRect">
              <a:avLst>
                <a:gd name="adj" fmla="val 10000"/>
              </a:avLst>
            </a:prstGeom>
            <a:solidFill>
              <a:srgbClr val="92D050"/>
            </a:solidFill>
            <a:sp3d z="-190500" extrusionH="12700" prstMaterial="plastic">
              <a:bevelT w="50800" h="50800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Скругленный прямоугольник 4"/>
            <p:cNvSpPr/>
            <p:nvPr/>
          </p:nvSpPr>
          <p:spPr>
            <a:xfrm>
              <a:off x="5131993" y="0"/>
              <a:ext cx="2386546" cy="1517226"/>
            </a:xfrm>
            <a:prstGeom prst="rect">
              <a:avLst/>
            </a:prstGeom>
            <a:sp3d z="-190500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010" tIns="80010" rIns="80010" bIns="80010" numCol="1" spcCol="1270" anchor="ctr" anchorCtr="0">
              <a:noAutofit/>
            </a:bodyPr>
            <a:lstStyle/>
            <a:p>
              <a:pPr lvl="0" algn="ctr" defTabSz="9334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100" b="1" kern="1200" baseline="0" dirty="0" smtClean="0"/>
                <a:t>Отлагательное условие</a:t>
              </a:r>
              <a:endParaRPr lang="ru-RU" sz="2100" kern="1200" dirty="0"/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6300192" y="1988840"/>
            <a:ext cx="2088232" cy="3763194"/>
            <a:chOff x="5370648" y="1517226"/>
            <a:chExt cx="1909237" cy="3287324"/>
          </a:xfrm>
          <a:scene3d>
            <a:camera prst="orthographicFront"/>
            <a:lightRig rig="flat" dir="t"/>
          </a:scene3d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5370648" y="1517226"/>
              <a:ext cx="1909237" cy="3287324"/>
            </a:xfrm>
            <a:prstGeom prst="roundRect">
              <a:avLst>
                <a:gd name="adj" fmla="val 10000"/>
              </a:avLst>
            </a:prstGeom>
            <a:gradFill rotWithShape="0">
              <a:gsLst>
                <a:gs pos="0">
                  <a:schemeClr val="accent1">
                    <a:lumMod val="90000"/>
                  </a:schemeClr>
                </a:gs>
                <a:gs pos="100000">
                  <a:schemeClr val="accent1">
                    <a:lumMod val="50000"/>
                  </a:schemeClr>
                </a:gs>
                <a:gs pos="11000">
                  <a:schemeClr val="accent1">
                    <a:lumMod val="75000"/>
                  </a:schemeClr>
                </a:gs>
              </a:gsLst>
              <a:lin ang="16200000" scaled="0"/>
            </a:gra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hueOff val="-14400000"/>
                <a:satOff val="-50003"/>
                <a:lumOff val="60001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Скругленный прямоугольник 4"/>
            <p:cNvSpPr/>
            <p:nvPr/>
          </p:nvSpPr>
          <p:spPr>
            <a:xfrm>
              <a:off x="5426568" y="1573146"/>
              <a:ext cx="1797397" cy="31754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8575" rIns="38100" bIns="28575" numCol="1" spcCol="1270" anchor="ctr" anchorCtr="0">
              <a:noAutofit/>
            </a:bodyPr>
            <a:lstStyle/>
            <a:p>
              <a:pPr lvl="0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 b="1" kern="1200" baseline="0" dirty="0" smtClean="0"/>
                <a:t>120 календарных дней с даты принятия Банком решения о выдаче кредита.</a:t>
              </a:r>
              <a:endParaRPr lang="ru-RU" sz="1500" kern="1200" dirty="0"/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3378727" y="764705"/>
            <a:ext cx="2386546" cy="5193005"/>
            <a:chOff x="2566455" y="0"/>
            <a:chExt cx="2386546" cy="5057421"/>
          </a:xfrm>
          <a:scene3d>
            <a:camera prst="orthographicFront"/>
            <a:lightRig rig="flat" dir="t"/>
          </a:scene3d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2566455" y="0"/>
              <a:ext cx="2386546" cy="5057421"/>
            </a:xfrm>
            <a:prstGeom prst="roundRect">
              <a:avLst>
                <a:gd name="adj" fmla="val 10000"/>
              </a:avLst>
            </a:prstGeom>
            <a:solidFill>
              <a:srgbClr val="92D050"/>
            </a:solidFill>
            <a:sp3d z="-190500" extrusionH="12700" prstMaterial="plastic">
              <a:bevelT w="50800" h="50800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2566455" y="0"/>
              <a:ext cx="2386546" cy="1517226"/>
            </a:xfrm>
            <a:prstGeom prst="rect">
              <a:avLst/>
            </a:prstGeom>
            <a:sp3d z="-190500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010" tIns="80010" rIns="80010" bIns="80010" numCol="1" spcCol="1270" anchor="ctr" anchorCtr="0">
              <a:noAutofit/>
            </a:bodyPr>
            <a:lstStyle/>
            <a:p>
              <a:pPr lvl="0" algn="ctr" defTabSz="9334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100" b="1" kern="1200" baseline="0" dirty="0" smtClean="0"/>
                <a:t>При предоставлении документов частями</a:t>
              </a:r>
              <a:endParaRPr lang="ru-RU" sz="2100" kern="1200" dirty="0"/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3617381" y="2181365"/>
            <a:ext cx="1909237" cy="1607676"/>
            <a:chOff x="2805110" y="1518708"/>
            <a:chExt cx="1909237" cy="1524881"/>
          </a:xfrm>
          <a:scene3d>
            <a:camera prst="orthographicFront"/>
            <a:lightRig rig="flat" dir="t"/>
          </a:scene3d>
        </p:grpSpPr>
        <p:sp>
          <p:nvSpPr>
            <p:cNvPr id="26" name="Скругленный прямоугольник 25"/>
            <p:cNvSpPr/>
            <p:nvPr/>
          </p:nvSpPr>
          <p:spPr>
            <a:xfrm>
              <a:off x="2805110" y="1518708"/>
              <a:ext cx="1909237" cy="1524881"/>
            </a:xfrm>
            <a:prstGeom prst="roundRect">
              <a:avLst>
                <a:gd name="adj" fmla="val 10000"/>
              </a:avLst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-4800000"/>
                <a:satOff val="-16668"/>
                <a:lumOff val="20000"/>
                <a:alphaOff val="0"/>
              </a:schemeClr>
            </a:fillRef>
            <a:effectRef idx="2">
              <a:schemeClr val="accent2">
                <a:hueOff val="-4800000"/>
                <a:satOff val="-16668"/>
                <a:lumOff val="2000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Скругленный прямоугольник 4"/>
            <p:cNvSpPr/>
            <p:nvPr/>
          </p:nvSpPr>
          <p:spPr>
            <a:xfrm>
              <a:off x="2849772" y="1563370"/>
              <a:ext cx="1819913" cy="143555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0" tIns="38100" rIns="50800" bIns="38100" numCol="1" spcCol="1270" anchor="ctr" anchorCtr="0">
              <a:noAutofit/>
            </a:bodyPr>
            <a:lstStyle/>
            <a:p>
              <a:pPr lvl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kern="1200" dirty="0" smtClean="0">
                  <a:latin typeface="Arial Black" pitchFamily="34" charset="0"/>
                </a:rPr>
                <a:t>5 </a:t>
              </a:r>
              <a:r>
                <a:rPr lang="ru-RU" sz="2000" kern="1200" dirty="0" smtClean="0">
                  <a:latin typeface="Arial Black" pitchFamily="34" charset="0"/>
                </a:rPr>
                <a:t>рабочих дней заявка на кредит </a:t>
              </a:r>
              <a:endParaRPr lang="ru-RU" sz="2000" kern="1200" dirty="0"/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3617381" y="3987890"/>
            <a:ext cx="1909237" cy="1817373"/>
            <a:chOff x="2805110" y="3278187"/>
            <a:chExt cx="1909237" cy="1524881"/>
          </a:xfrm>
          <a:scene3d>
            <a:camera prst="orthographicFront"/>
            <a:lightRig rig="flat" dir="t"/>
          </a:scene3d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2805110" y="3278187"/>
              <a:ext cx="1909237" cy="1524881"/>
            </a:xfrm>
            <a:prstGeom prst="roundRect">
              <a:avLst>
                <a:gd name="adj" fmla="val 10000"/>
              </a:avLst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-9600000"/>
                <a:satOff val="-33335"/>
                <a:lumOff val="40001"/>
                <a:alphaOff val="0"/>
              </a:schemeClr>
            </a:fillRef>
            <a:effectRef idx="2">
              <a:schemeClr val="accent2">
                <a:hueOff val="-9600000"/>
                <a:satOff val="-33335"/>
                <a:lumOff val="40001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Скругленный прямоугольник 4"/>
            <p:cNvSpPr/>
            <p:nvPr/>
          </p:nvSpPr>
          <p:spPr>
            <a:xfrm>
              <a:off x="2849772" y="3322849"/>
              <a:ext cx="1819913" cy="143555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0800" tIns="38100" rIns="50800" bIns="381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kern="1200" dirty="0" smtClean="0">
                  <a:latin typeface="Arial Black" pitchFamily="34" charset="0"/>
                </a:rPr>
                <a:t>3 рабочих дня пакет документов по объекту </a:t>
              </a:r>
              <a:endParaRPr lang="ru-RU" sz="2000" kern="1200" dirty="0">
                <a:latin typeface="Arial Black" pitchFamily="34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323528" y="764704"/>
            <a:ext cx="2736304" cy="5193007"/>
            <a:chOff x="917" y="0"/>
            <a:chExt cx="2386546" cy="5057421"/>
          </a:xfrm>
          <a:scene3d>
            <a:camera prst="orthographicFront"/>
            <a:lightRig rig="flat" dir="t"/>
          </a:scene3d>
        </p:grpSpPr>
        <p:sp>
          <p:nvSpPr>
            <p:cNvPr id="32" name="Скругленный прямоугольник 31"/>
            <p:cNvSpPr/>
            <p:nvPr/>
          </p:nvSpPr>
          <p:spPr>
            <a:xfrm>
              <a:off x="917" y="0"/>
              <a:ext cx="2386546" cy="5057421"/>
            </a:xfrm>
            <a:prstGeom prst="roundRect">
              <a:avLst>
                <a:gd name="adj" fmla="val 10000"/>
              </a:avLst>
            </a:prstGeom>
            <a:solidFill>
              <a:srgbClr val="92D050"/>
            </a:solidFill>
            <a:sp3d z="-190500" extrusionH="12700" prstMaterial="plastic">
              <a:bevelT w="50800" h="50800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3" name="Скругленный прямоугольник 4"/>
            <p:cNvSpPr/>
            <p:nvPr/>
          </p:nvSpPr>
          <p:spPr>
            <a:xfrm>
              <a:off x="917" y="0"/>
              <a:ext cx="2386546" cy="1517226"/>
            </a:xfrm>
            <a:prstGeom prst="rect">
              <a:avLst/>
            </a:prstGeom>
            <a:sp3d z="-190500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010" tIns="80010" rIns="80010" bIns="80010" numCol="1" spcCol="1270" anchor="ctr" anchorCtr="0">
              <a:noAutofit/>
            </a:bodyPr>
            <a:lstStyle/>
            <a:p>
              <a:pPr lvl="0" algn="ctr" defTabSz="9334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100" b="1" kern="1200" baseline="0" dirty="0" smtClean="0"/>
                <a:t>Полный пакет документов</a:t>
              </a:r>
              <a:endParaRPr lang="ru-RU" sz="2100" kern="1200" dirty="0"/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600548" y="2181366"/>
            <a:ext cx="2171252" cy="3407874"/>
            <a:chOff x="239572" y="1517226"/>
            <a:chExt cx="1909237" cy="3287324"/>
          </a:xfrm>
          <a:scene3d>
            <a:camera prst="orthographicFront"/>
            <a:lightRig rig="flat" dir="t"/>
          </a:scene3d>
        </p:grpSpPr>
        <p:sp>
          <p:nvSpPr>
            <p:cNvPr id="35" name="Скругленный прямоугольник 34"/>
            <p:cNvSpPr/>
            <p:nvPr/>
          </p:nvSpPr>
          <p:spPr>
            <a:xfrm>
              <a:off x="239572" y="1517226"/>
              <a:ext cx="1909237" cy="3287324"/>
            </a:xfrm>
            <a:prstGeom prst="roundRect">
              <a:avLst>
                <a:gd name="adj" fmla="val 10000"/>
              </a:avLst>
            </a:prstGeom>
            <a:solidFill>
              <a:srgbClr val="6CBEC0"/>
            </a:solidFill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Скругленный прямоугольник 4"/>
            <p:cNvSpPr/>
            <p:nvPr/>
          </p:nvSpPr>
          <p:spPr>
            <a:xfrm>
              <a:off x="295492" y="1573146"/>
              <a:ext cx="1797397" cy="31754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28575" rIns="38100" bIns="28575" numCol="1" spcCol="1270" anchor="ctr" anchorCtr="0">
              <a:noAutofit/>
            </a:bodyPr>
            <a:lstStyle/>
            <a:p>
              <a:pPr lvl="0" algn="ctr" defTabSz="6667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kern="1200" baseline="0" dirty="0" smtClean="0">
                  <a:solidFill>
                    <a:schemeClr val="bg1"/>
                  </a:solidFill>
                </a:rPr>
                <a:t>8 рабочих дней</a:t>
              </a:r>
              <a:endParaRPr lang="ru-RU" b="1" kern="1200" baseline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033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03250"/>
            <a:ext cx="9144000" cy="746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28357" name="Text Box 5"/>
          <p:cNvSpPr txBox="1">
            <a:spLocks noChangeArrowheads="1"/>
          </p:cNvSpPr>
          <p:nvPr/>
        </p:nvSpPr>
        <p:spPr bwMode="auto">
          <a:xfrm>
            <a:off x="107950" y="765175"/>
            <a:ext cx="8928100" cy="46672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defTabSz="933450">
              <a:defRPr/>
            </a:pPr>
            <a:r>
              <a:rPr lang="ru-RU" sz="2400" b="1" i="1">
                <a:solidFill>
                  <a:srgbClr val="0066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rPr>
              <a:t>Программа «Молодая семья»</a:t>
            </a:r>
          </a:p>
        </p:txBody>
      </p:sp>
      <p:sp>
        <p:nvSpPr>
          <p:cNvPr id="45059" name="Text Box 6"/>
          <p:cNvSpPr txBox="1">
            <a:spLocks noChangeArrowheads="1"/>
          </p:cNvSpPr>
          <p:nvPr/>
        </p:nvSpPr>
        <p:spPr bwMode="auto">
          <a:xfrm>
            <a:off x="323850" y="1524000"/>
            <a:ext cx="86423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ru-RU" sz="900" b="1" u="sng"/>
          </a:p>
        </p:txBody>
      </p:sp>
      <p:sp>
        <p:nvSpPr>
          <p:cNvPr id="45060" name="Text Box 6"/>
          <p:cNvSpPr txBox="1">
            <a:spLocks noChangeArrowheads="1"/>
          </p:cNvSpPr>
          <p:nvPr/>
        </p:nvSpPr>
        <p:spPr bwMode="auto">
          <a:xfrm>
            <a:off x="179388" y="1268413"/>
            <a:ext cx="8786812" cy="3970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b="1" dirty="0"/>
              <a:t>Программа «Молодая семья»</a:t>
            </a:r>
            <a:r>
              <a:rPr lang="ru-RU" dirty="0"/>
              <a:t> – </a:t>
            </a:r>
            <a:endParaRPr lang="en-US" dirty="0"/>
          </a:p>
          <a:p>
            <a:r>
              <a:rPr lang="en-US" dirty="0"/>
              <a:t>	</a:t>
            </a:r>
            <a:r>
              <a:rPr lang="ru-RU" dirty="0"/>
              <a:t>специальные условия кредитования по</a:t>
            </a:r>
            <a:r>
              <a:rPr lang="en-US" dirty="0"/>
              <a:t> </a:t>
            </a:r>
            <a:r>
              <a:rPr lang="ru-RU" dirty="0"/>
              <a:t>кредитам </a:t>
            </a:r>
            <a:r>
              <a:rPr lang="ru-RU" b="1" dirty="0"/>
              <a:t>«Приобретение строящегося жилья», «Приобретение готового</a:t>
            </a:r>
            <a:r>
              <a:rPr lang="en-US" b="1" dirty="0"/>
              <a:t> </a:t>
            </a:r>
            <a:r>
              <a:rPr lang="ru-RU" b="1" dirty="0"/>
              <a:t>жилья»,</a:t>
            </a:r>
          </a:p>
          <a:p>
            <a:r>
              <a:rPr lang="en-US" b="1" dirty="0"/>
              <a:t>	</a:t>
            </a:r>
            <a:r>
              <a:rPr lang="ru-RU" b="1" dirty="0"/>
              <a:t>«Строительство жилого дома»</a:t>
            </a:r>
            <a:r>
              <a:rPr lang="ru-RU" dirty="0"/>
              <a:t> :</a:t>
            </a:r>
          </a:p>
          <a:p>
            <a:endParaRPr lang="ru-RU" dirty="0"/>
          </a:p>
          <a:p>
            <a:pPr>
              <a:buFont typeface="Wingdings" pitchFamily="2" charset="2"/>
              <a:buChar char="ü"/>
            </a:pPr>
            <a:r>
              <a:rPr lang="ru-RU" dirty="0"/>
              <a:t>первоначальный взнос:</a:t>
            </a:r>
          </a:p>
          <a:p>
            <a:r>
              <a:rPr lang="ru-RU" dirty="0"/>
              <a:t>    – от </a:t>
            </a:r>
            <a:r>
              <a:rPr lang="ru-RU" b="1" dirty="0"/>
              <a:t>10%</a:t>
            </a:r>
            <a:r>
              <a:rPr lang="ru-RU" dirty="0"/>
              <a:t> стоимости недвижимости – для семьи с ребенком;</a:t>
            </a:r>
          </a:p>
          <a:p>
            <a:r>
              <a:rPr lang="ru-RU" dirty="0"/>
              <a:t>    – от </a:t>
            </a:r>
            <a:r>
              <a:rPr lang="ru-RU" b="1" dirty="0"/>
              <a:t>15%</a:t>
            </a:r>
            <a:r>
              <a:rPr lang="ru-RU" dirty="0"/>
              <a:t> стоимости недвижимости – для семьи, не имеющей детей;</a:t>
            </a:r>
          </a:p>
          <a:p>
            <a:endParaRPr lang="ru-RU" dirty="0"/>
          </a:p>
          <a:p>
            <a:r>
              <a:rPr lang="ru-RU" b="1" dirty="0" smtClean="0"/>
              <a:t>Молодая </a:t>
            </a:r>
            <a:r>
              <a:rPr lang="ru-RU" b="1" dirty="0"/>
              <a:t>семья»</a:t>
            </a:r>
            <a:r>
              <a:rPr lang="ru-RU" dirty="0"/>
              <a:t> – семья, в которой хотя бы один из супругов</a:t>
            </a:r>
          </a:p>
          <a:p>
            <a:r>
              <a:rPr lang="ru-RU" dirty="0"/>
              <a:t>не достиг </a:t>
            </a:r>
            <a:r>
              <a:rPr lang="ru-RU" b="1" dirty="0"/>
              <a:t>35-летнего возраста</a:t>
            </a:r>
            <a:r>
              <a:rPr lang="ru-RU" dirty="0"/>
              <a:t>, или неполная семья (семья с </a:t>
            </a:r>
          </a:p>
          <a:p>
            <a:r>
              <a:rPr lang="ru-RU" dirty="0"/>
              <a:t>одним родителем и ребенком/детьми), в которой родитель не </a:t>
            </a:r>
          </a:p>
          <a:p>
            <a:r>
              <a:rPr lang="ru-RU" dirty="0"/>
              <a:t>достиг </a:t>
            </a:r>
            <a:r>
              <a:rPr lang="ru-RU" b="1" dirty="0"/>
              <a:t>35-летнего возраста.</a:t>
            </a:r>
          </a:p>
          <a:p>
            <a:endParaRPr lang="ru-RU" b="1" dirty="0"/>
          </a:p>
        </p:txBody>
      </p:sp>
      <p:pic>
        <p:nvPicPr>
          <p:cNvPr id="45061" name="Picture 50" descr="128476m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425" y="4868863"/>
            <a:ext cx="1933575" cy="198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3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528" y="-629959"/>
            <a:ext cx="9396759" cy="7519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55304" name="AutoShape 5"/>
          <p:cNvSpPr>
            <a:spLocks noChangeArrowheads="1"/>
          </p:cNvSpPr>
          <p:nvPr/>
        </p:nvSpPr>
        <p:spPr bwMode="auto">
          <a:xfrm>
            <a:off x="755576" y="1988840"/>
            <a:ext cx="8066162" cy="2088232"/>
          </a:xfrm>
          <a:prstGeom prst="roundRect">
            <a:avLst>
              <a:gd name="adj" fmla="val 16667"/>
            </a:avLst>
          </a:prstGeom>
          <a:solidFill>
            <a:srgbClr val="92D050">
              <a:alpha val="79999"/>
            </a:srgbClr>
          </a:solidFill>
          <a:ln w="25400" algn="ctr">
            <a:noFill/>
            <a:round/>
            <a:headEnd/>
            <a:tailEnd/>
          </a:ln>
        </p:spPr>
        <p:txBody>
          <a:bodyPr lIns="90000" tIns="36000" anchor="ctr"/>
          <a:lstStyle/>
          <a:p>
            <a:pPr algn="ctr">
              <a:defRPr/>
            </a:pPr>
            <a:r>
              <a:rPr lang="ru-RU" b="1" i="1" dirty="0" smtClean="0"/>
              <a:t>Игнатенко Людмила- менеджер по работе с партнерами жилищного кредитования- 8-926-984-90-01 </a:t>
            </a:r>
            <a:endParaRPr lang="en-US" b="1" i="1" dirty="0"/>
          </a:p>
          <a:p>
            <a:pPr algn="ctr">
              <a:defRPr/>
            </a:pPr>
            <a:r>
              <a:rPr lang="en-US" b="1" i="1" dirty="0" smtClean="0"/>
              <a:t>E-mail</a:t>
            </a:r>
            <a:r>
              <a:rPr lang="ru-RU" b="1" i="1" dirty="0" smtClean="0"/>
              <a:t>: </a:t>
            </a:r>
            <a:r>
              <a:rPr lang="en-US" b="1" i="1" dirty="0" smtClean="0">
                <a:hlinkClick r:id="rId4"/>
              </a:rPr>
              <a:t>okfl.osb5278@sberbank.ru</a:t>
            </a:r>
            <a:endParaRPr lang="ru-RU" b="1" i="1" dirty="0" smtClean="0"/>
          </a:p>
          <a:p>
            <a:pPr algn="ctr">
              <a:defRPr/>
            </a:pPr>
            <a:endParaRPr lang="ru-RU" b="1" i="1" dirty="0" smtClean="0"/>
          </a:p>
          <a:p>
            <a:pPr algn="ctr">
              <a:defRPr/>
            </a:pPr>
            <a:r>
              <a:rPr lang="ru-RU" b="1" i="1" dirty="0" smtClean="0"/>
              <a:t>Кириллова Елена Сергеевна –руководитель центра ипотечного кредитования  ул. Брянская д.8 8-903-710-91-45</a:t>
            </a:r>
            <a:endParaRPr lang="ru-RU" b="1" i="1" dirty="0"/>
          </a:p>
        </p:txBody>
      </p:sp>
      <p:sp>
        <p:nvSpPr>
          <p:cNvPr id="228357" name="Text Box 5"/>
          <p:cNvSpPr txBox="1">
            <a:spLocks noChangeArrowheads="1"/>
          </p:cNvSpPr>
          <p:nvPr/>
        </p:nvSpPr>
        <p:spPr bwMode="auto">
          <a:xfrm>
            <a:off x="179388" y="908050"/>
            <a:ext cx="8642350" cy="466725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defTabSz="933450">
              <a:defRPr/>
            </a:pPr>
            <a:r>
              <a:rPr lang="ru-RU" sz="2400" b="1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rPr>
              <a:t>Наши координаты</a:t>
            </a:r>
            <a:endParaRPr lang="ru-RU" sz="2400" b="1" i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86KHu21kSRjT8iMqp3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opmBuLU2i0EV6xUc.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VbhR1takiFCTrhVPPN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8tRAItqUevsvR1WtJU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0s1UnSM06shpFGtb8M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VwN.8F.keQWm0JKuq1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LDgxqjp0KT_2m288YC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heme/theme1.xml><?xml version="1.0" encoding="utf-8"?>
<a:theme xmlns:a="http://schemas.openxmlformats.org/drawingml/2006/main" name="ПРЕЗЕНТАЦИЯ СБЕРБАНК 2012">
  <a:themeElements>
    <a:clrScheme name="blank 1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536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08A5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5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Край">
  <a:themeElements>
    <a:clrScheme name="Край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2_Край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Край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рай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рай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sber_present_gedonizm1">
  <a:themeElements>
    <a:clrScheme name="sber_present_gedonizm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ПРЕЗЕНТАЦИЯ СБЕРБАНК 2012</Template>
  <TotalTime>267</TotalTime>
  <Words>325</Words>
  <Application>Microsoft Office PowerPoint</Application>
  <PresentationFormat>Экран (4:3)</PresentationFormat>
  <Paragraphs>83</Paragraphs>
  <Slides>8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ПРЕЗЕНТАЦИЯ СБЕРБАНК 2012</vt:lpstr>
      <vt:lpstr>2_Край</vt:lpstr>
      <vt:lpstr>4_sber_present_gedonizm1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>Забегалов А.Л.</Manager>
  <Company>Сбербанк России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>ПСС</dc:subject>
  <dc:creator>Чекашкина Марина Ивановна</dc:creator>
  <cp:lastModifiedBy>Игнатенко Людмила Юрьевна</cp:lastModifiedBy>
  <cp:revision>22</cp:revision>
  <dcterms:created xsi:type="dcterms:W3CDTF">2012-05-15T08:14:23Z</dcterms:created>
  <dcterms:modified xsi:type="dcterms:W3CDTF">2013-03-22T12:16:23Z</dcterms:modified>
</cp:coreProperties>
</file>